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5"/>
  </p:notesMasterIdLst>
  <p:sldIdLst>
    <p:sldId id="265" r:id="rId3"/>
    <p:sldId id="495" r:id="rId4"/>
    <p:sldId id="264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96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E7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8" autoAdjust="0"/>
    <p:restoredTop sz="78143" autoAdjust="0"/>
  </p:normalViewPr>
  <p:slideViewPr>
    <p:cSldViewPr snapToGrid="0">
      <p:cViewPr varScale="1">
        <p:scale>
          <a:sx n="89" d="100"/>
          <a:sy n="89" d="100"/>
        </p:scale>
        <p:origin x="570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144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38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535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54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7B4991-5680-496C-9BA2-923177F4C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908" y="322561"/>
            <a:ext cx="8896349" cy="835027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 a set of event day posters for each floor or team. See below for additional set up instructions.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5411B1-04C0-4254-9690-4D0A9812D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00D8FBA-BD9E-4E13-A0AD-B19456A63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C93DBE18-8F20-40EE-8C64-637065DB2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950941"/>
              </p:ext>
            </p:extLst>
          </p:nvPr>
        </p:nvGraphicFramePr>
        <p:xfrm>
          <a:off x="324116" y="1806816"/>
          <a:ext cx="9561540" cy="44270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492510">
                  <a:extLst>
                    <a:ext uri="{9D8B030D-6E8A-4147-A177-3AD203B41FA5}">
                      <a16:colId xmlns:a16="http://schemas.microsoft.com/office/drawing/2014/main" val="1553875949"/>
                    </a:ext>
                  </a:extLst>
                </a:gridCol>
                <a:gridCol w="6069030">
                  <a:extLst>
                    <a:ext uri="{9D8B030D-6E8A-4147-A177-3AD203B41FA5}">
                      <a16:colId xmlns:a16="http://schemas.microsoft.com/office/drawing/2014/main" val="848242381"/>
                    </a:ext>
                  </a:extLst>
                </a:gridCol>
              </a:tblGrid>
              <a:tr h="40856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er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064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plus IT Equipment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large box for assets and peripherals in a central are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33375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plus Furni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a station equipped with post-it notes and sharpie markers in a central are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6315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per Recyc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or on a paper recycling bi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102229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re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shredding bins/stations already located within your offic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56003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plus Office Suppl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a large box to accommodate additional stationar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72967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a large box that can accommodate media items to be destroyed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462344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rb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garbage stations already located within your offi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785067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la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a large box that can accommodate equip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70545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inf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 over an area that houses all disinfection supplies and PP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2721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368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IT EQUIP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rplus IT equipment and peripherals should be placed here to return to I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160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TAINED ASSE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orted business assets identified for retention. Please label and identify according to the instructions provided in your guide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204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ISINFECT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use the provided sanitization items to clean all contacted surfaces. PPE is also provided, please wear as advis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3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2551289"/>
            <a:ext cx="10874424" cy="2829094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lean-up </a:t>
            </a:r>
            <a:r>
              <a:rPr kumimoji="0" lang="en-CA" altLang="en-US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aptain</a:t>
            </a: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 Hub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collect all clean-up materials required. Clean-up Captain can assist with any questions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45DDE6-FF04-4CDF-BBD0-3E3003533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3198" y="2213992"/>
            <a:ext cx="1625601" cy="3887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9" name="Picture 8" descr="Person symbol">
            <a:extLst>
              <a:ext uri="{FF2B5EF4-FFF2-40B4-BE49-F238E27FC236}">
                <a16:creationId xmlns:a16="http://schemas.microsoft.com/office/drawing/2014/main" id="{7C2CAD73-DBCE-45ED-BA27-56AA3F0E1E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749" y="1231902"/>
            <a:ext cx="1896447" cy="189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7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HREDD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ensure that the material is eligible for shredding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9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GARB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garbage from recyclables and place all garbage in the designated bin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9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MEDI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types of CDs, DVDs, etc. that require secure disposal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CLAM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urplus assets (technology) should be marked and place here. If it is too heavy to relocate, please label accordingly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1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PAPER RECYCL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paper from other materials (i.e. plastic and metal). All secure documents past their retention period should be shred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2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OFFICE SUPPLI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ace surplus office supplies in the designated boxes. This includes pens, notebooks, staplers, rulers, scissors, binders or any other usable office supplie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URPLUS FURNITU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rk all unused and broken furniture as “surplus” using the labels provi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5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48</TotalTime>
  <Words>416</Words>
  <Application>Microsoft Office PowerPoint</Application>
  <PresentationFormat>Widescreen</PresentationFormat>
  <Paragraphs>69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Black</vt:lpstr>
      <vt:lpstr>Calibri</vt:lpstr>
      <vt:lpstr>Georgia</vt:lpstr>
      <vt:lpstr>1_Office Theme</vt:lpstr>
      <vt:lpstr>2_Office Theme</vt:lpstr>
      <vt:lpstr>think-cell Slide</vt:lpstr>
      <vt:lpstr>Print a set of event day posters for each floor or team. See below for additional set up instructions.  </vt:lpstr>
      <vt:lpstr>Clean-up Captain Hub Please collect all clean-up materials required. Clean-up Captain can assist with any questions.  Thank you for participating</vt:lpstr>
      <vt:lpstr>SHREDDING Please ensure that the material is eligible for shredding.  Thank you for participating</vt:lpstr>
      <vt:lpstr>GARBAGE Please separate garbage from recyclables and place all garbage in the designated bin.  Thank you for participating</vt:lpstr>
      <vt:lpstr>MEDIA All types of CDs, DVDs, etc. that require secure disposal.  Thank you for participating</vt:lpstr>
      <vt:lpstr>RECLAMATION All surplus assets (technology) should be marked and place here. If it is too heavy to relocate, please label accordingly.  Thank you for participating</vt:lpstr>
      <vt:lpstr>PAPER RECYCLING Please separate paper from other materials (i.e. plastic and metal). All secure documents past their retention period should be shredded.   Thank you for participating</vt:lpstr>
      <vt:lpstr>OFFICE SUPPLIES Place surplus office supplies in the designated boxes. This includes pens, notebooks, staplers, rulers, scissors, binders or any other usable office supplies.   Thank you for participating</vt:lpstr>
      <vt:lpstr>SURPLUS FURNITURE Mark all unused and broken furniture as “surplus” using the labels provided.   Thank you for participating</vt:lpstr>
      <vt:lpstr>IT EQUIPMENT Surplus IT equipment and peripherals should be placed here to return to IT.  Thank you for participating</vt:lpstr>
      <vt:lpstr>RETAINED ASSETS All sorted business assets identified for retention. Please label and identify according to the instructions provided in your guide.   Thank you for participating</vt:lpstr>
      <vt:lpstr>DISINFECTING Please use the provided sanitization items to clean all contacted surfaces. PPE is also provided, please wear as advise.  Thank you for participa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Carine Pare</cp:lastModifiedBy>
  <cp:revision>70</cp:revision>
  <dcterms:created xsi:type="dcterms:W3CDTF">2016-09-22T13:56:19Z</dcterms:created>
  <dcterms:modified xsi:type="dcterms:W3CDTF">2022-05-12T13:54:37Z</dcterms:modified>
</cp:coreProperties>
</file>